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1"/>
  </p:notesMasterIdLst>
  <p:handoutMasterIdLst>
    <p:handoutMasterId r:id="rId12"/>
  </p:handoutMasterIdLst>
  <p:sldIdLst>
    <p:sldId id="347" r:id="rId6"/>
    <p:sldId id="258" r:id="rId7"/>
    <p:sldId id="348" r:id="rId8"/>
    <p:sldId id="334" r:id="rId9"/>
    <p:sldId id="257" r:id="rId10"/>
  </p:sldIdLst>
  <p:sldSz cx="12192000" cy="6858000"/>
  <p:notesSz cx="7099300" cy="10234613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63"/>
    <p:restoredTop sz="96327"/>
  </p:normalViewPr>
  <p:slideViewPr>
    <p:cSldViewPr snapToGrid="0">
      <p:cViewPr varScale="1">
        <p:scale>
          <a:sx n="123" d="100"/>
          <a:sy n="123" d="100"/>
        </p:scale>
        <p:origin x="776" y="192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N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N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045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N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05BB04-765F-64F5-5C21-9E446AA76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FB08C-BE7C-479B-70C2-43EB445818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412598-8366-A80D-EF0E-FD251CE86D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08127E2-11A3-6033-1925-C0879852E81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50387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D16B169-4398-58AE-4C25-EC7913AC058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9DCEA9-EC54-628A-9B39-9CC48B84B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7A0F7D-0883-841C-D46C-8B1208CAB7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374302-0120-991F-78E7-D0E901D25C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8290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60</Words>
  <Application>Microsoft Macintosh PowerPoint</Application>
  <PresentationFormat>Widescreen</PresentationFormat>
  <Paragraphs>20</Paragraphs>
  <Slides>5</Slides>
  <Notes>4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7" baseType="lpstr">
      <vt:lpstr>Arial</vt:lpstr>
      <vt:lpstr>Infineon 16:9</vt:lpstr>
      <vt:lpstr>Presentazione standard di PowerPoint</vt:lpstr>
      <vt:lpstr>Outline</vt:lpstr>
      <vt:lpstr>Presentazione standard di PowerPoint</vt:lpstr>
      <vt:lpstr>References</vt:lpstr>
      <vt:lpstr>Presentazione standard di PowerPoint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Alessia Ceroni</cp:lastModifiedBy>
  <cp:revision>3</cp:revision>
  <dcterms:created xsi:type="dcterms:W3CDTF">2023-11-30T10:20:59Z</dcterms:created>
  <dcterms:modified xsi:type="dcterms:W3CDTF">2024-10-17T12:5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